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3FF539-7AC9-4A17-BC6C-E075A2768FE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96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5" imgW="6350000" imgH="6350000" progId="">
                  <p:embed/>
                </p:oleObj>
              </mc:Choice>
              <mc:Fallback>
                <p:oleObj name="think-cell Folie" r:id="rId5" imgW="6350000" imgH="635000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F69371E-1B81-4AFC-8984-5ED59EE95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ShortTitle">
            <a:extLst>
              <a:ext uri="{FF2B5EF4-FFF2-40B4-BE49-F238E27FC236}">
                <a16:creationId xmlns:a16="http://schemas.microsoft.com/office/drawing/2014/main" id="{F6EFBB98-AD8F-412D-8691-4454BE078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136525"/>
            <a:ext cx="9134856" cy="110956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3200" b="1"/>
            </a:lvl1pPr>
          </a:lstStyle>
          <a:p>
            <a:r>
              <a:rPr lang="de-DE"/>
              <a:t>Shorttitle</a:t>
            </a:r>
            <a:br>
              <a:rPr lang="de-DE"/>
            </a:br>
            <a:endParaRPr lang="de-CH" dirty="0"/>
          </a:p>
        </p:txBody>
      </p:sp>
      <p:sp>
        <p:nvSpPr>
          <p:cNvPr id="3" name="Start">
            <a:extLst>
              <a:ext uri="{FF2B5EF4-FFF2-40B4-BE49-F238E27FC236}">
                <a16:creationId xmlns:a16="http://schemas.microsoft.com/office/drawing/2014/main" id="{53A115AE-D77F-4543-9B55-0C7D20F949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89531"/>
            <a:ext cx="4064400" cy="4150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Conclusion">
            <a:extLst>
              <a:ext uri="{FF2B5EF4-FFF2-40B4-BE49-F238E27FC236}">
                <a16:creationId xmlns:a16="http://schemas.microsoft.com/office/drawing/2014/main" id="{370DF1C3-26F0-4B37-A16D-9D8B7574D4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611898"/>
            <a:ext cx="6400800" cy="124610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1800" b="1">
                <a:solidFill>
                  <a:schemeClr val="bg1"/>
                </a:solidFill>
              </a:defRPr>
            </a:lvl2pPr>
            <a:lvl3pPr marL="914400" indent="0">
              <a:buNone/>
              <a:defRPr sz="1800" b="1">
                <a:solidFill>
                  <a:schemeClr val="bg1"/>
                </a:solidFill>
              </a:defRPr>
            </a:lvl3pPr>
            <a:lvl4pPr marL="1371600" indent="0">
              <a:buNone/>
              <a:defRPr sz="1800" b="1">
                <a:solidFill>
                  <a:schemeClr val="bg1"/>
                </a:solidFill>
              </a:defRPr>
            </a:lvl4pPr>
            <a:lvl5pPr marL="1828800" indent="0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err="1"/>
              <a:t>Conclusion</a:t>
            </a:r>
            <a:r>
              <a:rPr lang="de-DE" dirty="0"/>
              <a:t>: </a:t>
            </a:r>
            <a:endParaRPr lang="de-CH" dirty="0"/>
          </a:p>
        </p:txBody>
      </p:sp>
      <p:sp>
        <p:nvSpPr>
          <p:cNvPr id="24" name="Citation">
            <a:extLst>
              <a:ext uri="{FF2B5EF4-FFF2-40B4-BE49-F238E27FC236}">
                <a16:creationId xmlns:a16="http://schemas.microsoft.com/office/drawing/2014/main" id="{C1B92E9F-D248-4F9B-94C0-8BC0B63BF14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00800" y="5619749"/>
            <a:ext cx="5791200" cy="939093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Solution">
            <a:extLst>
              <a:ext uri="{FF2B5EF4-FFF2-40B4-BE49-F238E27FC236}">
                <a16:creationId xmlns:a16="http://schemas.microsoft.com/office/drawing/2014/main" id="{F1BA592C-8760-4E5E-A659-0CB6DB6002B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064400" y="1385605"/>
            <a:ext cx="4064400" cy="4150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End">
            <a:extLst>
              <a:ext uri="{FF2B5EF4-FFF2-40B4-BE49-F238E27FC236}">
                <a16:creationId xmlns:a16="http://schemas.microsoft.com/office/drawing/2014/main" id="{30AB4786-E28E-4A55-9ED8-46D060419D3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127600" y="1385605"/>
            <a:ext cx="4064400" cy="415065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C80ECA06-6104-4142-A51C-16DD548D0A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00800" y="6564579"/>
            <a:ext cx="5420412" cy="28777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r">
              <a:buNone/>
              <a:defRPr sz="120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5BA7F4D-3AA7-4A98-845B-EA33664B48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299811"/>
            <a:ext cx="12192000" cy="360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 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7D6A4065-B008-4CC5-B2D0-B5ED7F312C6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5565391"/>
            <a:ext cx="12192000" cy="36000"/>
          </a:xfrm>
          <a:solidFill>
            <a:schemeClr val="accent1"/>
          </a:solidFill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de-CH" dirty="0"/>
              <a:t> </a:t>
            </a:r>
          </a:p>
        </p:txBody>
      </p:sp>
      <p:sp>
        <p:nvSpPr>
          <p:cNvPr id="15" name="Start">
            <a:extLst>
              <a:ext uri="{FF2B5EF4-FFF2-40B4-BE49-F238E27FC236}">
                <a16:creationId xmlns:a16="http://schemas.microsoft.com/office/drawing/2014/main" id="{D59CA417-5611-4B14-AC3B-0C4B42948A42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-600" y="1386000"/>
            <a:ext cx="4064400" cy="4150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32781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">
            <a:extLst>
              <a:ext uri="{FF2B5EF4-FFF2-40B4-BE49-F238E27FC236}">
                <a16:creationId xmlns:a16="http://schemas.microsoft.com/office/drawing/2014/main" id="{9B2C283C-BD07-4A4A-A639-47292E4125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Shorttitle">
            <a:extLst>
              <a:ext uri="{FF2B5EF4-FFF2-40B4-BE49-F238E27FC236}">
                <a16:creationId xmlns:a16="http://schemas.microsoft.com/office/drawing/2014/main" id="{82D0A09C-37C3-4366-8450-048EA363B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Shorttit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74717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CC6093-B608-4735-954D-BC4EE5E392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/>
                <a:cs typeface="Arial"/>
              </a:rPr>
              <a:t>Journal.short.title</a:t>
            </a:r>
            <a:br>
              <a:rPr lang="en-US" dirty="0">
                <a:latin typeface="Arial"/>
                <a:cs typeface="Arial"/>
              </a:rPr>
            </a:br>
            <a:r>
              <a:rPr lang="en-US" sz="2400" dirty="0">
                <a:latin typeface="Arial"/>
                <a:cs typeface="Arial"/>
              </a:rPr>
              <a:t> DOI: #################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2090DA2-5FF7-4F5D-BCC2-82443672C6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solidFill>
            <a:srgbClr val="000000"/>
          </a:solidFill>
        </p:spPr>
        <p:txBody>
          <a:bodyPr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A785815-8B9F-48B8-9A75-79769ED074D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6495941"/>
            <a:ext cx="12192000" cy="36000"/>
          </a:xfrm>
          <a:solidFill>
            <a:srgbClr val="000000"/>
          </a:solidFill>
        </p:spPr>
        <p:txBody>
          <a:bodyPr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6746440" y="6557648"/>
            <a:ext cx="5420412" cy="287777"/>
          </a:xfrm>
        </p:spPr>
        <p:txBody>
          <a:bodyPr/>
          <a:lstStyle/>
          <a:p>
            <a:r>
              <a:rPr lang="en-US" dirty="0">
                <a:latin typeface="Arial"/>
                <a:cs typeface="Arial"/>
              </a:rPr>
              <a:t>Copyright </a:t>
            </a:r>
            <a:r>
              <a:rPr lang="en-US" dirty="0" err="1">
                <a:latin typeface="Arial"/>
                <a:cs typeface="Arial"/>
              </a:rPr>
              <a:t>Karger</a:t>
            </a:r>
            <a:r>
              <a:rPr lang="en-US" dirty="0">
                <a:latin typeface="Arial"/>
                <a:cs typeface="Arial"/>
              </a:rPr>
              <a:t>/author</a:t>
            </a:r>
          </a:p>
        </p:txBody>
      </p:sp>
      <p:pic>
        <p:nvPicPr>
          <p:cNvPr id="20" name="Picture 19" descr="Karger_RGB-1536x60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25424" y="113176"/>
            <a:ext cx="2253409" cy="880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3056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BFF6ppdorZqzOp66Xo4Q"/>
</p:tagLst>
</file>

<file path=ppt/theme/theme1.xml><?xml version="1.0" encoding="utf-8"?>
<a:theme xmlns:a="http://schemas.openxmlformats.org/drawingml/2006/main" name="templateva">
  <a:themeElements>
    <a:clrScheme name="AJ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va.potx" id="{4BE7387C-A510-4F31-BF03-B06B25B3329C}" vid="{634B950A-6E76-4AF8-8EE0-74AF7048350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VA</Template>
  <TotalTime>0</TotalTime>
  <Words>14</Words>
  <Application>Microsoft Office PowerPoint</Application>
  <PresentationFormat>Widescreen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templateva</vt:lpstr>
      <vt:lpstr>think-cell Folie</vt:lpstr>
      <vt:lpstr>Journal.short.title  DOI: #################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orella Bertaso</dc:creator>
  <cp:lastModifiedBy>Lara Grieder</cp:lastModifiedBy>
  <cp:revision>12</cp:revision>
  <dcterms:created xsi:type="dcterms:W3CDTF">2021-03-18T14:21:22Z</dcterms:created>
  <dcterms:modified xsi:type="dcterms:W3CDTF">2022-05-03T14:00:50Z</dcterms:modified>
</cp:coreProperties>
</file>